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704" r:id="rId8"/>
    <p:sldId id="657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4"/>
            <p14:sldId id="65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Data type conversi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618416" y="1069924"/>
            <a:ext cx="7543800" cy="5254177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556836"/>
            <a:ext cx="11174818" cy="3913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</a:pPr>
            <a:r>
              <a:rPr lang="en-US" sz="2400" dirty="0"/>
              <a:t>Python allows us to convert objects from one data type to another. For example, you may need to convert a float to an integer (int). In programming this is called typecasting and has a lot of very many useful applications.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int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float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str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bool()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Type Conversions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2</TotalTime>
  <Words>74</Words>
  <Application>Microsoft Office PowerPoint</Application>
  <PresentationFormat>Widescreen</PresentationFormat>
  <Paragraphs>1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Programming in Python</vt:lpstr>
      <vt:lpstr>Data type convers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6</cp:revision>
  <dcterms:created xsi:type="dcterms:W3CDTF">2020-03-16T19:15:12Z</dcterms:created>
  <dcterms:modified xsi:type="dcterms:W3CDTF">2021-05-13T17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